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979" autoAdjust="0"/>
    <p:restoredTop sz="93447" autoAdjust="0"/>
  </p:normalViewPr>
  <p:slideViewPr>
    <p:cSldViewPr snapToGrid="0">
      <p:cViewPr varScale="1">
        <p:scale>
          <a:sx n="83" d="100"/>
          <a:sy n="83" d="100"/>
        </p:scale>
        <p:origin x="917" y="77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8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31/08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5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6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7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2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#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Shambhavi Va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522008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Shell implements professionalism by fostering a culture of integrity, accountability, and excellence in every project and interaction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It will help me start my professional journey with on the right note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146" name="Picture 2" descr="Image result for professiolism">
            <a:extLst>
              <a:ext uri="{FF2B5EF4-FFF2-40B4-BE49-F238E27FC236}">
                <a16:creationId xmlns:a16="http://schemas.microsoft.com/office/drawing/2014/main" id="{89B366B2-B5D4-49C0-B645-9723D42338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1200" y="2132115"/>
            <a:ext cx="4955320" cy="3400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39883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Initially, I felt hesitant to adopt new or out-of-box methods in the professional environment.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9220" name="Picture 4" descr="Image result for thinking out of box   gif">
            <a:extLst>
              <a:ext uri="{FF2B5EF4-FFF2-40B4-BE49-F238E27FC236}">
                <a16:creationId xmlns:a16="http://schemas.microsoft.com/office/drawing/2014/main" id="{8716A54D-7CE2-4626-7635-31CA278652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8390" y="1670620"/>
            <a:ext cx="4452539" cy="4452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There was initially strong ice between me and all the other new joiners but slowly it started to ace down. 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8196" name="Picture 4" descr="Image result for breaking ice   gif">
            <a:extLst>
              <a:ext uri="{FF2B5EF4-FFF2-40B4-BE49-F238E27FC236}">
                <a16:creationId xmlns:a16="http://schemas.microsoft.com/office/drawing/2014/main" id="{36CB4784-88AB-DFCE-BBDF-6BAB6B0062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3190" y="1860993"/>
            <a:ext cx="5250638" cy="4204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298202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The corporate world comes with tons of professional etiquettes to function better with cross-functional teams initially I was not fully aware of it 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7172" name="Picture 4" descr="Image result for proffesioanlism   gif">
            <a:extLst>
              <a:ext uri="{FF2B5EF4-FFF2-40B4-BE49-F238E27FC236}">
                <a16:creationId xmlns:a16="http://schemas.microsoft.com/office/drawing/2014/main" id="{A537128F-2AA1-2E03-0695-B1593D1DB1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798" y="1860993"/>
            <a:ext cx="5323029" cy="4076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algn="ctr">
              <a:buFont typeface="Arial" panose="020B0604020202020204" pitchFamily="34" charset="0"/>
              <a:buAutoNum type="arabicPeriod"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racting and Networking with more people.</a:t>
            </a:r>
          </a:p>
          <a:p>
            <a:pPr marL="457200" indent="-457200" algn="ctr">
              <a:buFont typeface="Arial" panose="020B0604020202020204" pitchFamily="34" charset="0"/>
              <a:buAutoNum type="arabicPeriod"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inking of innovative solutions.</a:t>
            </a:r>
          </a:p>
          <a:p>
            <a:pPr marL="457200" indent="-457200" algn="ctr">
              <a:buFont typeface="Arial" panose="020B0604020202020204" pitchFamily="34" charset="0"/>
              <a:buAutoNum type="arabicPeriod"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Practicing professionalism  everyday 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 plan to keep working on it consistently 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 have successfully networked with more people and implemented innovative solution in my technical workshop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In a very fun and insightful activity to understand the stakeholders and the powerplay we have a role play with a CEO, government, environmentalists, and clients. The activity was full of banter and power play. </a:t>
            </a:r>
          </a:p>
        </p:txBody>
      </p:sp>
      <p:pic>
        <p:nvPicPr>
          <p:cNvPr id="10244" name="Picture 4" descr="Image result for banter gif">
            <a:extLst>
              <a:ext uri="{FF2B5EF4-FFF2-40B4-BE49-F238E27FC236}">
                <a16:creationId xmlns:a16="http://schemas.microsoft.com/office/drawing/2014/main" id="{BCDDE36E-E336-58EF-5445-3BD9A211C2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6039" y="2329578"/>
            <a:ext cx="5557941" cy="3126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/>
              <a:t>Learned the importance of soft skills in the professional journey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Next week we will have a full fledge professional technical training.</a:t>
            </a:r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400" dirty="0"/>
              <a:t>Decoding the corporate life one algorithm at a time </a:t>
            </a: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/>
              <a:t>Please share an image / visual that best represents you</a:t>
            </a:r>
            <a:endParaRPr lang="en-US" sz="2000" dirty="0"/>
          </a:p>
        </p:txBody>
      </p:sp>
      <p:pic>
        <p:nvPicPr>
          <p:cNvPr id="8" name="Picture 7" descr="A person wearing glasses and a black shirt&#10;&#10;Description automatically generated">
            <a:extLst>
              <a:ext uri="{FF2B5EF4-FFF2-40B4-BE49-F238E27FC236}">
                <a16:creationId xmlns:a16="http://schemas.microsoft.com/office/drawing/2014/main" id="{6E05814E-D970-B791-8944-158C42CF154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800" y="1783654"/>
            <a:ext cx="5495925" cy="4124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Importance of growth mindset </a:t>
            </a:r>
          </a:p>
          <a:p>
            <a:r>
              <a:rPr lang="en-IN" sz="2000" dirty="0"/>
              <a:t>Embrace the Challenge </a:t>
            </a:r>
          </a:p>
          <a:p>
            <a:r>
              <a:rPr lang="en-US" sz="2000" dirty="0"/>
              <a:t>A growth mindset can fuel innovation, and help to drive towards a sustainable future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594762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026" name="Picture 2" descr="Image result for growth mindset gif">
            <a:extLst>
              <a:ext uri="{FF2B5EF4-FFF2-40B4-BE49-F238E27FC236}">
                <a16:creationId xmlns:a16="http://schemas.microsoft.com/office/drawing/2014/main" id="{49E95C32-3B40-FFB2-919A-38B80C0C95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4762" y="1779688"/>
            <a:ext cx="5350706" cy="4223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Importance of Collaboration</a:t>
            </a:r>
          </a:p>
          <a:p>
            <a:r>
              <a:rPr lang="en-US" sz="2000" dirty="0"/>
              <a:t>Collaboration is the art of aligning diverse perspectives toward a common goal.</a:t>
            </a:r>
          </a:p>
          <a:p>
            <a:r>
              <a:rPr lang="en-US" sz="2000" dirty="0"/>
              <a:t>In the energy sector, collaboration sparks breakthroughs, uniting diverse expertise to power sustainable progres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00210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052" name="Picture 4" descr="Image result for collbration gif">
            <a:extLst>
              <a:ext uri="{FF2B5EF4-FFF2-40B4-BE49-F238E27FC236}">
                <a16:creationId xmlns:a16="http://schemas.microsoft.com/office/drawing/2014/main" id="{239FCF47-2126-728E-F8A9-5ADAD60F30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798" y="1800210"/>
            <a:ext cx="5349007" cy="4076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Practicing professionalism </a:t>
            </a:r>
          </a:p>
          <a:p>
            <a:r>
              <a:rPr lang="en-US" sz="2000" dirty="0"/>
              <a:t>Professionalism is dressing sharp, thinking sharp, and working smart.</a:t>
            </a:r>
          </a:p>
          <a:p>
            <a:r>
              <a:rPr lang="en-US" sz="2000" dirty="0"/>
              <a:t>In the energy industry, professionalism powers reliability, ensuring that both projects and trust are always fully charged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7468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3074" name="Picture 2" descr="Image result for profesionlism  gif">
            <a:extLst>
              <a:ext uri="{FF2B5EF4-FFF2-40B4-BE49-F238E27FC236}">
                <a16:creationId xmlns:a16="http://schemas.microsoft.com/office/drawing/2014/main" id="{7303C7F9-FA5B-4077-388D-CAAB6A6DFE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4689" y="1860993"/>
            <a:ext cx="5415974" cy="4076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At Shell, a growth mindset is implanted to, drive innovation and shape a sustainable energy future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It helps me better align my goals and helps to power progress together.</a:t>
            </a:r>
          </a:p>
          <a:p>
            <a:pPr marL="0" indent="0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4098" name="Picture 2" descr="Powering Progress strategy - Shell Annual Report and Accounts 2022">
            <a:extLst>
              <a:ext uri="{FF2B5EF4-FFF2-40B4-BE49-F238E27FC236}">
                <a16:creationId xmlns:a16="http://schemas.microsoft.com/office/drawing/2014/main" id="{6D1DC804-275E-363E-87A1-394FEED533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980" y="1301520"/>
            <a:ext cx="4013379" cy="4750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400" dirty="0"/>
              <a:t>Shell implements collaboration by uniting global teams and diverse expertise to innovate and tackle the energy challenges of tomorrow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It will benefit shell as I will learn to collaboration with global teams and work more efficiently . 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5122" name="Picture 2" descr="Image result for  collabration">
            <a:extLst>
              <a:ext uri="{FF2B5EF4-FFF2-40B4-BE49-F238E27FC236}">
                <a16:creationId xmlns:a16="http://schemas.microsoft.com/office/drawing/2014/main" id="{B09FF726-2CB2-F014-615B-1671D483DA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799" y="1860992"/>
            <a:ext cx="5322682" cy="4076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766</TotalTime>
  <Words>494</Words>
  <Application>Microsoft Office PowerPoint</Application>
  <PresentationFormat>Widescreen</PresentationFormat>
  <Paragraphs>75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Shambhavi Vats</cp:lastModifiedBy>
  <cp:revision>503</cp:revision>
  <dcterms:created xsi:type="dcterms:W3CDTF">2022-01-18T12:35:56Z</dcterms:created>
  <dcterms:modified xsi:type="dcterms:W3CDTF">2024-08-31T03:11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